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3"/>
  </p:notesMasterIdLst>
  <p:sldIdLst>
    <p:sldId id="411" r:id="rId2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2F2F2"/>
    <a:srgbClr val="E41E2A"/>
    <a:srgbClr val="686868"/>
    <a:srgbClr val="7F7F7F"/>
    <a:srgbClr val="F5EFEF"/>
    <a:srgbClr val="BBB9C0"/>
    <a:srgbClr val="D3CBC8"/>
    <a:srgbClr val="A7A7A7"/>
    <a:srgbClr val="0086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8" d="100"/>
          <a:sy n="68" d="100"/>
        </p:scale>
        <p:origin x="-1074" y="-102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037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xmlns="" id="{CF8E6D96-72FC-4E66-BE9A-5FC235F639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xmlns="" id="{097EAF01-D690-440C-84A3-6588F787FC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E4FEE471-C15D-4A53-9CD5-BB36BC15D924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3A824C49-69B6-4E2B-8209-6073BB3D97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38" name="TPandFilters">
            <a:extLst>
              <a:ext uri="{FF2B5EF4-FFF2-40B4-BE49-F238E27FC236}">
                <a16:creationId xmlns:a16="http://schemas.microsoft.com/office/drawing/2014/main" xmlns="" id="{19B406FB-92C7-403E-A8CE-FADDF9E192D3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xmlns="" id="{CA615EBD-8514-4540-A74A-CE82100FC0AF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xmlns="" id="{8C091EC4-1E01-4814-A73C-740C3A5A0679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xmlns="" id="{B8B4C692-8D2D-4718-9CFF-42FFAAA07D66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03D03D35-7385-4C78-8E1B-0EE7EAA69362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xmlns="" id="{6ADAD44F-4E8A-4349-87A8-DB2961976323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44" name="Slide Number Placeholder 5">
            <a:extLst>
              <a:ext uri="{FF2B5EF4-FFF2-40B4-BE49-F238E27FC236}">
                <a16:creationId xmlns:a16="http://schemas.microsoft.com/office/drawing/2014/main" xmlns="" id="{FD42103A-8EC5-4D99-9E05-2876CB239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5" name="Picture 44" descr="A close up of a logo&#10;&#10;Description generated with very high confidence">
            <a:extLst>
              <a:ext uri="{FF2B5EF4-FFF2-40B4-BE49-F238E27FC236}">
                <a16:creationId xmlns:a16="http://schemas.microsoft.com/office/drawing/2014/main" xmlns="" id="{18F217A3-5E8F-4125-9FEC-1027D2DE9D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xmlns="" id="{5E9884B3-CBEF-42B8-890A-F93D0BF91EFD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6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363200" y="6583205"/>
            <a:ext cx="35266" cy="123111"/>
          </a:xfrm>
          <a:prstGeom prst="rect">
            <a:avLst/>
          </a:prstGeom>
        </p:spPr>
        <p:txBody>
          <a:bodyPr/>
          <a:lstStyle/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 bwMode="gray">
          <a:xfrm>
            <a:off x="10363200" y="6583205"/>
            <a:ext cx="3526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471488" y="747706"/>
            <a:ext cx="11237212" cy="5165698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2450136"/>
              </p:ext>
            </p:extLst>
          </p:nvPr>
        </p:nvGraphicFramePr>
        <p:xfrm>
          <a:off x="577906" y="768552"/>
          <a:ext cx="11109268" cy="5149930"/>
        </p:xfrm>
        <a:graphic>
          <a:graphicData uri="http://schemas.openxmlformats.org/drawingml/2006/table">
            <a:tbl>
              <a:tblPr/>
              <a:tblGrid>
                <a:gridCol w="388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851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0882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00882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00882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008821">
                  <a:extLst>
                    <a:ext uri="{9D8B030D-6E8A-4147-A177-3AD203B41FA5}">
                      <a16:colId xmlns:a16="http://schemas.microsoft.com/office/drawing/2014/main" xmlns="" val="414859248"/>
                    </a:ext>
                  </a:extLst>
                </a:gridCol>
              </a:tblGrid>
              <a:tr h="211935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-Wal-Mart Supercente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4431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ffluen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9319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3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9319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93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9319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9319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2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7976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9319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2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1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69319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 Skew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ock Up (1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628861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2]</a:t>
                      </a:r>
                    </a:p>
                    <a:p>
                      <a:pPr marL="169863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*show high-skew motivation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Fuel For Car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se Pharmacy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Advantage of Good Coupon Polic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igh-quality Product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8323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01575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3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 19-34, 25-34, 3, 4, 5+ people in the HH, AA, Hispanic, Rural, Social Shoppers, Errand Runn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: 65-75, 25-34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: Np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: 2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leasure Shopp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No skew, Age: 35-49, 50-64, 65-75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White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2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Suburban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egment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Brand Buyers, Pleasure Shoppers 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85862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69319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magery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E/Heat Food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693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arbonated Soft Drink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30276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ill Non-Alcoholic Beverage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471488" y="17996"/>
            <a:ext cx="11720512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053507" y="158650"/>
            <a:ext cx="9764018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-Wal-Mart Supercenter</a:t>
            </a:r>
          </a:p>
        </p:txBody>
      </p:sp>
      <p:sp>
        <p:nvSpPr>
          <p:cNvPr id="13" name="TextBox 20"/>
          <p:cNvSpPr txBox="1"/>
          <p:nvPr/>
        </p:nvSpPr>
        <p:spPr>
          <a:xfrm>
            <a:off x="0" y="6022838"/>
            <a:ext cx="548740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 Coca-Cola iSHOP Tracking Study, 2015, Monthly+ Grocery Shoppers, Supermarket Visits; Filters: None</a:t>
            </a:r>
          </a:p>
        </p:txBody>
      </p:sp>
      <p:sp>
        <p:nvSpPr>
          <p:cNvPr id="14" name="TextBox 19"/>
          <p:cNvSpPr txBox="1"/>
          <p:nvPr/>
        </p:nvSpPr>
        <p:spPr>
          <a:xfrm>
            <a:off x="5487400" y="5980729"/>
            <a:ext cx="6683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1] Stat Test vs Share of Monthly+ Urban-Wal-Mart Supercenter Shopper, [2] Stat Test vs Total Trips of Urban-Wal-Mart Supercenter,</a:t>
            </a:r>
          </a:p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3] Stat Test vs Total Monthly+ Urban-Wal-Mart Supercenter Shopper</a:t>
            </a:r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28209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32</TotalTime>
  <Words>362</Words>
  <Application>Microsoft Office PowerPoint</Application>
  <PresentationFormat>Custom</PresentationFormat>
  <Paragraphs>65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12_USE THIS</vt:lpstr>
      <vt:lpstr>think-cell Slide</vt:lpstr>
      <vt:lpstr>PowerPoint Presentation</vt:lpstr>
    </vt:vector>
  </TitlesOfParts>
  <Company>Coca-Col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Harshavardhan Reddy KV</cp:lastModifiedBy>
  <cp:revision>428</cp:revision>
  <cp:lastPrinted>2015-12-04T15:56:47Z</cp:lastPrinted>
  <dcterms:created xsi:type="dcterms:W3CDTF">2014-05-21T13:43:49Z</dcterms:created>
  <dcterms:modified xsi:type="dcterms:W3CDTF">2018-10-26T10:1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